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</p:sldMasterIdLst>
  <p:notesMasterIdLst>
    <p:notesMasterId r:id="rId11"/>
  </p:notesMasterIdLst>
  <p:handoutMasterIdLst>
    <p:handoutMasterId r:id="rId12"/>
  </p:handoutMasterIdLst>
  <p:sldIdLst>
    <p:sldId id="261" r:id="rId3"/>
    <p:sldId id="442" r:id="rId4"/>
    <p:sldId id="456" r:id="rId5"/>
    <p:sldId id="478" r:id="rId6"/>
    <p:sldId id="477" r:id="rId7"/>
    <p:sldId id="476" r:id="rId8"/>
    <p:sldId id="466" r:id="rId9"/>
    <p:sldId id="452" r:id="rId10"/>
  </p:sldIdLst>
  <p:sldSz cx="9144000" cy="6858000" type="screen4x3"/>
  <p:notesSz cx="6797675" cy="9926638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4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0" clrIdx="0"/>
  <p:cmAuthor id="1" name="Liezel Zaal" initials="LZ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31" autoAdjust="0"/>
    <p:restoredTop sz="93173" autoAdjust="0"/>
  </p:normalViewPr>
  <p:slideViewPr>
    <p:cSldViewPr>
      <p:cViewPr varScale="1">
        <p:scale>
          <a:sx n="108" d="100"/>
          <a:sy n="108" d="100"/>
        </p:scale>
        <p:origin x="-1716" y="-90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7" d="100"/>
          <a:sy n="67" d="100"/>
        </p:scale>
        <p:origin x="-3228" y="-96"/>
      </p:cViewPr>
      <p:guideLst>
        <p:guide orient="horz" pos="2924"/>
        <p:guide orient="horz" pos="3127"/>
        <p:guide pos="2204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21/05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06562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039746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824396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196243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7705587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07536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91912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1 May 2018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1307311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985965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9166945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8485011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475459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2316829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4307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1567789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2556322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727715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416805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7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768C4C-95D0-4AB7-8E5F-A791FDF4FAE2}" type="datetimeFigureOut">
              <a:rPr lang="en-ZA" smtClean="0"/>
              <a:pPr/>
              <a:t>2018/05/2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F6D16-397D-4C49-9D2D-B8CA39DFA947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512564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212976"/>
            <a:ext cx="8208912" cy="1008113"/>
          </a:xfrm>
        </p:spPr>
        <p:txBody>
          <a:bodyPr>
            <a:normAutofit/>
          </a:bodyPr>
          <a:lstStyle/>
          <a:p>
            <a:pPr algn="ctr"/>
            <a:r>
              <a:rPr lang="en-ZA" u="sng" dirty="0"/>
              <a:t>Mechanisms that will avoid future recurrence </a:t>
            </a:r>
            <a:br>
              <a:rPr lang="en-ZA" u="sng" dirty="0"/>
            </a:br>
            <a:r>
              <a:rPr lang="en-ZA" u="sng" dirty="0"/>
              <a:t>of debts written off due to salary overpayments</a:t>
            </a:r>
            <a:endParaRPr lang="en-ZA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ctr"/>
            <a:r>
              <a:rPr lang="en-US" dirty="0"/>
              <a:t>Date:  16 May 2018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54942"/>
            <a:ext cx="8597205" cy="559256"/>
          </a:xfrm>
        </p:spPr>
        <p:txBody>
          <a:bodyPr/>
          <a:lstStyle/>
          <a:p>
            <a:pPr algn="r"/>
            <a:r>
              <a:rPr lang="en-GB" dirty="0"/>
              <a:t>Reasons for Debts due to Salary overpayment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345405" y="1371349"/>
            <a:ext cx="8496943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ZA" sz="2000" b="1" dirty="0"/>
              <a:t>Debt due to Salary Overpayments mainly occur due to the following reasons:</a:t>
            </a:r>
          </a:p>
          <a:p>
            <a:pPr algn="just"/>
            <a:endParaRPr lang="en-ZA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ZA" dirty="0"/>
              <a:t>Basic Salary overpayments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ZA" dirty="0"/>
              <a:t>Leave Without Pay not recover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Leave over gran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Overpayment of Leave Gratuit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Overpayment of Commuted Overtim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Service bonus overpaymen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Overpayment of allowances, i.e. Housing Allowance, Danger allowance, Rural Allowanc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Grade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Pay progress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dirty="0"/>
              <a:t>Abnormal and contract appointments without end dates</a:t>
            </a:r>
          </a:p>
          <a:p>
            <a:pPr lvl="0" algn="just"/>
            <a:endParaRPr lang="en-ZA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01002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451084"/>
            <a:ext cx="8597205" cy="400144"/>
          </a:xfrm>
        </p:spPr>
        <p:txBody>
          <a:bodyPr>
            <a:normAutofit fontScale="90000"/>
          </a:bodyPr>
          <a:lstStyle/>
          <a:p>
            <a:pPr algn="r"/>
            <a:r>
              <a:rPr lang="en-ZA" dirty="0"/>
              <a:t>Mechanisms already in place</a:t>
            </a:r>
            <a:br>
              <a:rPr lang="en-ZA" dirty="0"/>
            </a:b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295275" y="1052736"/>
            <a:ext cx="8487766" cy="5001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b="1" dirty="0"/>
              <a:t>Mechanisms already in place:</a:t>
            </a:r>
          </a:p>
          <a:p>
            <a:endParaRPr lang="en-ZA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b="1" dirty="0"/>
              <a:t>People Managem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dirty="0"/>
              <a:t>Regular </a:t>
            </a:r>
            <a:r>
              <a:rPr lang="en-ZA" sz="1600" b="1" dirty="0"/>
              <a:t>sample testing </a:t>
            </a:r>
            <a:r>
              <a:rPr lang="en-ZA" sz="1600" dirty="0"/>
              <a:t>is performed by P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dirty="0"/>
              <a:t>Ongoing and continuous </a:t>
            </a:r>
            <a:r>
              <a:rPr lang="en-ZA" sz="1600" b="1" dirty="0"/>
              <a:t>Training</a:t>
            </a:r>
            <a:r>
              <a:rPr lang="en-ZA" sz="1600" dirty="0"/>
              <a:t> to Line Managers as well as PM Staff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Leave policy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Service Conditions 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People Management Toolkit – to Line Manager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Delegation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b="1" dirty="0"/>
              <a:t>PM Procedural Manuals </a:t>
            </a:r>
            <a:r>
              <a:rPr lang="en-ZA" sz="1600" dirty="0"/>
              <a:t>are in plac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This will be reviewed  and updated to ensure that all areas are covere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b="1" dirty="0"/>
              <a:t>Line Manager Toolkit </a:t>
            </a:r>
            <a:r>
              <a:rPr lang="en-ZA" sz="1600" dirty="0"/>
              <a:t>is in plac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This will be reviewed and updated to ensure that all areas are covere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500" dirty="0"/>
          </a:p>
          <a:p>
            <a:endParaRPr lang="en-ZA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1080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451084"/>
            <a:ext cx="8597205" cy="400144"/>
          </a:xfrm>
        </p:spPr>
        <p:txBody>
          <a:bodyPr>
            <a:normAutofit fontScale="90000"/>
          </a:bodyPr>
          <a:lstStyle/>
          <a:p>
            <a:pPr algn="r"/>
            <a:r>
              <a:rPr lang="en-ZA" dirty="0"/>
              <a:t>Mechanisms already in place</a:t>
            </a:r>
            <a:br>
              <a:rPr lang="en-ZA" dirty="0"/>
            </a:b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404714" y="1556792"/>
            <a:ext cx="848776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b="1" dirty="0"/>
              <a:t>Circular:  Deduction of departmental debt from pension benefit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Department can request that debt is deducted form pension benefit with permission from employe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GEPF not obligated to deduc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b="1" dirty="0"/>
              <a:t>Compliance Management Instrument</a:t>
            </a:r>
            <a:r>
              <a:rPr lang="en-ZA" sz="1600" dirty="0"/>
              <a:t> (CMI) is in plac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Reporting by Line Managers on monthly basi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b="1" dirty="0"/>
              <a:t>HR Audit Action Plan </a:t>
            </a:r>
            <a:r>
              <a:rPr lang="en-ZA" sz="1600" dirty="0"/>
              <a:t>(HRAAP) in Place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ZA" sz="1600" dirty="0"/>
              <a:t>Reporting by HR Offices on quarterly basis</a:t>
            </a:r>
            <a:endParaRPr lang="en-ZA" sz="1600" b="1" dirty="0"/>
          </a:p>
          <a:p>
            <a:endParaRPr lang="en-ZA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611349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332656"/>
            <a:ext cx="8597205" cy="559256"/>
          </a:xfrm>
        </p:spPr>
        <p:txBody>
          <a:bodyPr>
            <a:normAutofit fontScale="90000"/>
          </a:bodyPr>
          <a:lstStyle/>
          <a:p>
            <a:pPr algn="r"/>
            <a:r>
              <a:rPr lang="en-ZA" dirty="0"/>
              <a:t>Mechanisms already in place </a:t>
            </a:r>
            <a:br>
              <a:rPr lang="en-ZA" dirty="0"/>
            </a:b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431577" y="1268760"/>
            <a:ext cx="848776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ZA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b="1" dirty="0"/>
              <a:t>Finan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1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Debt Management Policy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Debt are checked and followed up on a regular basis (quarterly)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Discussions with Institution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Spreadsheets sent to HR- as well as Finance staff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Ongoing training is provided to PM staff on Salary matters such as: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Salary recall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Partial reversal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Debt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Delegations</a:t>
            </a:r>
            <a:endParaRPr lang="en-ZA" sz="16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77753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0125" y="332656"/>
            <a:ext cx="8597205" cy="559256"/>
          </a:xfrm>
        </p:spPr>
        <p:txBody>
          <a:bodyPr>
            <a:normAutofit fontScale="90000"/>
          </a:bodyPr>
          <a:lstStyle/>
          <a:p>
            <a:pPr algn="r"/>
            <a:r>
              <a:rPr lang="en-ZA" dirty="0"/>
              <a:t>Mechanisms that must be put in place</a:t>
            </a:r>
            <a:br>
              <a:rPr lang="en-ZA" dirty="0"/>
            </a:b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295275" y="1124744"/>
            <a:ext cx="8487766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b="1" dirty="0"/>
              <a:t>Mechanisms that must be put in place</a:t>
            </a:r>
            <a:r>
              <a:rPr lang="en-ZA" sz="2000" dirty="0"/>
              <a:t>:</a:t>
            </a:r>
          </a:p>
          <a:p>
            <a:pPr lvl="0"/>
            <a:endParaRPr lang="en-ZA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1600" b="1" dirty="0"/>
              <a:t>Auditing of leave files: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dirty="0"/>
              <a:t>Compulsory annual auditing of all leave files from 1 January to 31 December at Micro Level reduce leave over grants due to leave  granted incorrect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1600" b="1" dirty="0"/>
              <a:t>Leave without Pay:  </a:t>
            </a:r>
          </a:p>
          <a:p>
            <a:pPr marL="1200150" lvl="2" indent="-285750" algn="just">
              <a:buFont typeface="Courier New" panose="02070309020205020404" pitchFamily="49" charset="0"/>
              <a:buChar char="o"/>
            </a:pPr>
            <a:r>
              <a:rPr lang="en-ZA" sz="1600" dirty="0"/>
              <a:t>request monthly reports on </a:t>
            </a:r>
            <a:r>
              <a:rPr lang="en-ZA" sz="1600" b="1" dirty="0"/>
              <a:t>LWOP with salary implication “No”</a:t>
            </a:r>
            <a:endParaRPr lang="en-ZA" sz="1600" dirty="0"/>
          </a:p>
          <a:p>
            <a:pPr marL="1200150" lvl="2" indent="-285750" algn="just">
              <a:buFont typeface="Courier New" panose="02070309020205020404" pitchFamily="49" charset="0"/>
              <a:buChar char="o"/>
            </a:pPr>
            <a:r>
              <a:rPr lang="en-ZA" sz="1600" dirty="0"/>
              <a:t>Identifying reasons why LWOP was captured with salary implication “No”</a:t>
            </a:r>
          </a:p>
          <a:p>
            <a:pPr lvl="3"/>
            <a:r>
              <a:rPr lang="en-ZA" sz="1600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1600" b="1" dirty="0"/>
              <a:t>Training to PM staff:  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Training on Auditing of leave to PM staff 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Salary determinations –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Grade Progression and Pay Progression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1600" b="1" dirty="0"/>
              <a:t>Development and updating of policies:  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ZA" sz="1600" dirty="0"/>
              <a:t>The Compensation Management Policy and guidelines (consolidated document) </a:t>
            </a:r>
          </a:p>
          <a:p>
            <a:endParaRPr lang="en-ZA" sz="1600" b="1" dirty="0"/>
          </a:p>
          <a:p>
            <a:endParaRPr lang="en-ZA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515206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7578" y="236240"/>
            <a:ext cx="8597205" cy="559256"/>
          </a:xfrm>
        </p:spPr>
        <p:txBody>
          <a:bodyPr>
            <a:normAutofit/>
          </a:bodyPr>
          <a:lstStyle/>
          <a:p>
            <a:pPr algn="r"/>
            <a:r>
              <a:rPr lang="en-ZA" dirty="0"/>
              <a:t>Disciplinary ac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2" name="TextBox 1"/>
          <p:cNvSpPr txBox="1"/>
          <p:nvPr/>
        </p:nvSpPr>
        <p:spPr>
          <a:xfrm>
            <a:off x="273308" y="1772816"/>
            <a:ext cx="874496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 </a:t>
            </a:r>
          </a:p>
          <a:p>
            <a:pPr lvl="0"/>
            <a:r>
              <a:rPr lang="en-ZA" sz="2000" b="1" dirty="0"/>
              <a:t>Disciplinary action must be taken in instances where:</a:t>
            </a:r>
          </a:p>
          <a:p>
            <a:pPr lvl="0"/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dirty="0"/>
              <a:t>Employees knowingly receive a payment that they are not entitled to and fails to report  it to the PM Compon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600" dirty="0"/>
              <a:t>In instances where overpayments occur due to negligence </a:t>
            </a:r>
          </a:p>
          <a:p>
            <a:r>
              <a:rPr lang="en-ZA" sz="1400" dirty="0"/>
              <a:t>     </a:t>
            </a:r>
            <a:r>
              <a:rPr lang="en-ZA" sz="1100" dirty="0"/>
              <a:t> </a:t>
            </a:r>
            <a:r>
              <a:rPr lang="en-ZA" dirty="0"/>
              <a:t> 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927960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07704" y="332656"/>
            <a:ext cx="597666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000" b="1" dirty="0">
                <a:solidFill>
                  <a:schemeClr val="tx1"/>
                </a:solidFill>
              </a:rPr>
              <a:t>Contact Details</a:t>
            </a:r>
            <a:r>
              <a:rPr lang="en-ZA" sz="2000" dirty="0">
                <a:solidFill>
                  <a:schemeClr val="tx1"/>
                </a:solidFill>
              </a:rPr>
              <a:t>:</a:t>
            </a:r>
          </a:p>
          <a:p>
            <a:pPr algn="ctr"/>
            <a:endParaRPr lang="en-ZA" sz="1600" dirty="0">
              <a:solidFill>
                <a:schemeClr val="tx1"/>
              </a:solidFill>
            </a:endParaRPr>
          </a:p>
          <a:p>
            <a:r>
              <a:rPr lang="en-ZA" sz="1600" b="1" dirty="0">
                <a:solidFill>
                  <a:schemeClr val="tx1"/>
                </a:solidFill>
              </a:rPr>
              <a:t>Name:   </a:t>
            </a:r>
          </a:p>
          <a:p>
            <a:r>
              <a:rPr lang="en-ZA" sz="1600" b="1" dirty="0">
                <a:solidFill>
                  <a:schemeClr val="tx1"/>
                </a:solidFill>
              </a:rPr>
              <a:t>Tel:  </a:t>
            </a:r>
          </a:p>
          <a:p>
            <a:r>
              <a:rPr lang="en-ZA" sz="1600" b="1" dirty="0">
                <a:solidFill>
                  <a:schemeClr val="tx1"/>
                </a:solidFill>
              </a:rPr>
              <a:t>E-mail:</a:t>
            </a:r>
            <a:endParaRPr lang="en-ZA" sz="1600" dirty="0">
              <a:solidFill>
                <a:schemeClr val="tx1"/>
              </a:solidFill>
            </a:endParaRPr>
          </a:p>
          <a:p>
            <a:endParaRPr lang="en-ZA" sz="1600" dirty="0">
              <a:solidFill>
                <a:schemeClr val="tx1"/>
              </a:solidFill>
            </a:endParaRPr>
          </a:p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2775633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ur/qYXClUhvwckbOHARTMCFDQhKAVQUekOvmLmPhNT7c610/FVgDr9DIwjBVkh10+uoZtDLLnip08d9YX17yTxrCbvRbX/8VBjuXv/632OIQhYamCTMKSj6cE4A+JQ+h5OAdzKiyiyOOUWtWTYfUjwkUdHlMgxSJJPPnb1LSgl0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09</TotalTime>
  <Words>327</Words>
  <Application>Microsoft Office PowerPoint</Application>
  <PresentationFormat>On-screen Show (4:3)</PresentationFormat>
  <Paragraphs>104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WCG-PPT Master-121022-amc</vt:lpstr>
      <vt:lpstr>Custom Design</vt:lpstr>
      <vt:lpstr>think-cell Slide</vt:lpstr>
      <vt:lpstr>Mechanisms that will avoid future recurrence  of debts written off due to salary overpayments</vt:lpstr>
      <vt:lpstr>Reasons for Debts due to Salary overpayments</vt:lpstr>
      <vt:lpstr>Mechanisms already in place </vt:lpstr>
      <vt:lpstr>Mechanisms already in place </vt:lpstr>
      <vt:lpstr>Mechanisms already in place  </vt:lpstr>
      <vt:lpstr>Mechanisms that must be put in place </vt:lpstr>
      <vt:lpstr>Disciplinary action</vt:lpstr>
      <vt:lpstr>Slide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ny</dc:creator>
  <cp:keywords>POTX</cp:keywords>
  <cp:lastModifiedBy>PUMZA</cp:lastModifiedBy>
  <cp:revision>503</cp:revision>
  <cp:lastPrinted>2018-05-04T06:17:40Z</cp:lastPrinted>
  <dcterms:created xsi:type="dcterms:W3CDTF">2012-11-01T08:19:05Z</dcterms:created>
  <dcterms:modified xsi:type="dcterms:W3CDTF">2018-05-21T08:25:01Z</dcterms:modified>
  <cp:category>CI</cp:category>
</cp:coreProperties>
</file>